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9"/>
    <p:restoredTop sz="94767"/>
  </p:normalViewPr>
  <p:slideViewPr>
    <p:cSldViewPr snapToGrid="0">
      <p:cViewPr varScale="1">
        <p:scale>
          <a:sx n="128" d="100"/>
          <a:sy n="128" d="100"/>
        </p:scale>
        <p:origin x="5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8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 dirty="0" err="1">
                <a:solidFill>
                  <a:srgbClr val="575757"/>
                </a:solidFill>
              </a:rPr>
              <a:t>esante.gouv.fr</a:t>
            </a:r>
            <a:endParaRPr lang="fr-FR" sz="2667" b="1" dirty="0">
              <a:solidFill>
                <a:srgbClr val="575757"/>
              </a:solidFill>
            </a:endParaRPr>
          </a:p>
          <a:p>
            <a:pPr algn="l"/>
            <a:r>
              <a:rPr lang="fr-FR" sz="2000" dirty="0">
                <a:solidFill>
                  <a:srgbClr val="575757"/>
                </a:solidFill>
              </a:rPr>
              <a:t>Le portail</a:t>
            </a:r>
            <a:r>
              <a:rPr lang="fr-FR" sz="20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dirty="0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337527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512951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 </a:t>
            </a:r>
            <a:r>
              <a:rPr kumimoji="0" lang="en-AU" sz="10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i-build)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3313528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2337528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3313528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2337528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512952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500" dirty="0">
                <a:solidFill>
                  <a:prstClr val="black"/>
                </a:solidFill>
                <a:latin typeface="Arial"/>
              </a:rPr>
              <a:t>trial</a:t>
            </a: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imple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4289529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5113595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470821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468370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ial-imple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619442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tex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600276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439779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619442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text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« final-text » 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trial-implementation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trial-implementation 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« 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rial-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524947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445457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88299" y="2813102"/>
            <a:ext cx="1702899" cy="170289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DD219BA-DFA2-983A-8F8F-264C3484D3DE}"/>
              </a:ext>
            </a:extLst>
          </p:cNvPr>
          <p:cNvSpPr txBox="1"/>
          <p:nvPr/>
        </p:nvSpPr>
        <p:spPr>
          <a:xfrm>
            <a:off x="10095191" y="2580902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99B3586-D760-0233-553B-B39618428F66}"/>
              </a:ext>
            </a:extLst>
          </p:cNvPr>
          <p:cNvSpPr txBox="1"/>
          <p:nvPr/>
        </p:nvSpPr>
        <p:spPr>
          <a:xfrm>
            <a:off x="5064505" y="4100127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 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AU" sz="1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-build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95</TotalTime>
  <Words>181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36</cp:revision>
  <dcterms:created xsi:type="dcterms:W3CDTF">2024-07-11T07:46:37Z</dcterms:created>
  <dcterms:modified xsi:type="dcterms:W3CDTF">2024-07-19T15:05:07Z</dcterms:modified>
</cp:coreProperties>
</file>